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88481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987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cm.co.uk/planner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40AE7BA2-5BD6-4C1B-B7CD-EB6D2F97A905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60" r="10360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5 March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Benedict Cumberbatch, Elizabeth Olsen, Rachel McAdams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Sam Raimi (</a:t>
            </a:r>
            <a:r>
              <a:rPr lang="en-US" i="1" dirty="0">
                <a:solidFill>
                  <a:schemeClr val="accent6"/>
                </a:solidFill>
              </a:rPr>
              <a:t>Drag Me To Hell, Spider-Man Trilogy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Doctor Strange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e first films was one of the biggest films of 2016, and the Marvel Cinematic Universe is a reliable staple for 16-34 audiences at the box office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Adults Index: 215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.3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Plot currently unknown – a sequel to </a:t>
            </a:r>
            <a:r>
              <a:rPr lang="en-GB" b="0" i="1" dirty="0"/>
              <a:t>Doctor Strange </a:t>
            </a:r>
            <a:r>
              <a:rPr lang="en-GB" b="0" dirty="0"/>
              <a:t>and the TV show </a:t>
            </a:r>
            <a:r>
              <a:rPr lang="en-GB" b="0" i="1" dirty="0" err="1"/>
              <a:t>Wandavision</a:t>
            </a:r>
            <a:r>
              <a:rPr lang="en-GB" b="0" dirty="0"/>
              <a:t>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Doctor Strange in the Multiverse of Madnes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T</a:t>
            </a:r>
            <a:r>
              <a:rPr lang="en-GB" sz="1400" dirty="0">
                <a:solidFill>
                  <a:schemeClr val="accent6"/>
                </a:solidFill>
              </a:rPr>
              <a:t>he Marvel Universe is about to expand…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0568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1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Doctor Strange in the Multiverse of Madnes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2 2022</dc:title>
  <dc:creator/>
  <dc:description>Doctor Strange in the Multiverse of Madness</dc:description>
  <cp:lastModifiedBy/>
  <cp:revision>1</cp:revision>
  <dcterms:created xsi:type="dcterms:W3CDTF">2019-03-25T11:13:20Z</dcterms:created>
  <dcterms:modified xsi:type="dcterms:W3CDTF">2022-01-19T16:57:26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2 2022</vt:lpwstr>
  </property>
  <property fmtid="{D5CDD505-2E9C-101B-9397-08002B2CF9AE}" pid="4" name="SlideDescription">
    <vt:lpwstr>Doctor Strange in the Multiverse of Madness</vt:lpwstr>
  </property>
</Properties>
</file>